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328" r:id="rId2"/>
    <p:sldId id="332" r:id="rId3"/>
    <p:sldId id="337" r:id="rId4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76" d="100"/>
          <a:sy n="76" d="100"/>
        </p:scale>
        <p:origin x="114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4-03-0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4-03-08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tandvård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Handlingsplan för 2024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1709021"/>
              </p:ext>
            </p:extLst>
          </p:nvPr>
        </p:nvGraphicFramePr>
        <p:xfrm>
          <a:off x="25167" y="-14884"/>
          <a:ext cx="12166833" cy="753142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076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42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09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75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Nationella riktlinjer (NR) för tandvård</a:t>
                      </a:r>
                    </a:p>
                    <a:p>
                      <a:endParaRPr lang="sv-SE" sz="1200" b="1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1" kern="1200" baseline="0" dirty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 diagnostik, behandling och uppföljning enligt bästa kunskap i varje mö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Bryant Regular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Implementering</a:t>
                      </a:r>
                      <a:r>
                        <a:rPr lang="sv-SE" sz="1100" b="1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 av</a:t>
                      </a:r>
                      <a:r>
                        <a:rPr lang="sv-SE" sz="11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 nationella riktlinjer (NR)</a:t>
                      </a:r>
                      <a:r>
                        <a:rPr lang="sv-SE" sz="1100" b="1" kern="1200" baseline="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 för tandvård</a:t>
                      </a:r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olktandvårdens Kunskapscentrum Sydöstra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(FOKUS) startar sina l</a:t>
                      </a: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ärandeinsatser kring NR i sju olika områdesblock. Arbetet pågår tom HT 2026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mfattningen och utformningen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v insatser i implementeringsarbetet styrs av åtgärdens komplexitet och andra omständigheter som kan förväntas utgöra orsaker till implementeringsresisten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omplettering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vårprogram, Utbildningar, Workshops, Lärgrupper över klinikgränse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Läsa-Lyssna, Reflektera-</a:t>
                      </a:r>
                      <a:r>
                        <a:rPr lang="sv-SE" sz="1100" kern="1200" baseline="0" dirty="0" err="1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eed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back)</a:t>
                      </a:r>
                      <a:endParaRPr lang="sv-SE" sz="11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ljs upp med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motsvarande enkät som användes till gap-analys i prioriteringsarbetet.</a:t>
                      </a:r>
                      <a:b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oS indikatorer. </a:t>
                      </a:r>
                    </a:p>
                    <a:p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KaPa</a:t>
                      </a:r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6440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lja</a:t>
                      </a: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och bistå NPO Tandvård inom befintliga NAG samt när nya NAG tillsätt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NAG Antibiotika i tandvården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NAG Dentala erosioner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NAG Dentala implantat SKRI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NAG PSVF Karie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NAG Sällsynta </a:t>
                      </a:r>
                      <a:r>
                        <a:rPr lang="sv-SE" sz="1200" b="1" kern="1200" baseline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dont</a:t>
                      </a: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och </a:t>
                      </a:r>
                      <a:r>
                        <a:rPr lang="sv-SE" sz="1200" b="1" kern="1200" baseline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rofac</a:t>
                      </a: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tillstån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NAG Läkemedel i tandvården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NAG Äldres munhälsa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1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 panose="020B0604020202020204" pitchFamily="34" charset="0"/>
                        </a:rPr>
                        <a:t>Få tillgång till patientsäker vård</a:t>
                      </a:r>
                    </a:p>
                    <a:p>
                      <a:endParaRPr lang="sv-SE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ljer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arbetet aktivt</a:t>
                      </a:r>
                      <a:b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idrar med nomineringar från SÖSR</a:t>
                      </a:r>
                      <a:br>
                        <a:rPr lang="sv-SE" sz="11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illsättning av RAG när så är lämpligt</a:t>
                      </a:r>
                    </a:p>
                    <a:p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prida kunskaper på lämpligt sätt när kunskapsstöd är publicerade</a:t>
                      </a:r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1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d</a:t>
                      </a:r>
                      <a:r>
                        <a:rPr lang="sv-SE" sz="11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indikatorer som NAG föreslår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baseline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KaPa</a:t>
                      </a:r>
                      <a:r>
                        <a:rPr lang="sv-SE" sz="11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, SKRI, SoS indikatorer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19663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rankra organisationsstrukturen för kunskapsstyrning</a:t>
                      </a: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inom hela Sydöstra sjukvårdsregionen</a:t>
                      </a:r>
                      <a:endParaRPr lang="sv-SE" sz="12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1" kern="1200" baseline="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 panose="020B0604020202020204" pitchFamily="34" charset="0"/>
                        </a:rPr>
                        <a:t>Få tillgång till jämlik 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tt tydliggöra RPO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som nyckel i Kunskapsstyrningen. 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Långsiktig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Ellips 2"/>
          <p:cNvSpPr/>
          <p:nvPr/>
        </p:nvSpPr>
        <p:spPr>
          <a:xfrm>
            <a:off x="11566282" y="1151811"/>
            <a:ext cx="294593" cy="28803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200">
              <a:latin typeface="+mj-lt"/>
            </a:endParaRPr>
          </a:p>
        </p:txBody>
      </p:sp>
      <p:sp>
        <p:nvSpPr>
          <p:cNvPr id="4" name="Ellips 3"/>
          <p:cNvSpPr/>
          <p:nvPr/>
        </p:nvSpPr>
        <p:spPr>
          <a:xfrm>
            <a:off x="11566282" y="3749396"/>
            <a:ext cx="294593" cy="28803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200">
              <a:latin typeface="+mj-lt"/>
            </a:endParaRPr>
          </a:p>
        </p:txBody>
      </p:sp>
      <p:sp>
        <p:nvSpPr>
          <p:cNvPr id="5" name="Ellips 4"/>
          <p:cNvSpPr/>
          <p:nvPr/>
        </p:nvSpPr>
        <p:spPr>
          <a:xfrm>
            <a:off x="11566281" y="6356666"/>
            <a:ext cx="294593" cy="28803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200">
              <a:latin typeface="+mj-lt"/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478172" y="1555096"/>
            <a:ext cx="9028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sz="2800" b="1" dirty="0"/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7796960"/>
              </p:ext>
            </p:extLst>
          </p:nvPr>
        </p:nvGraphicFramePr>
        <p:xfrm>
          <a:off x="0" y="0"/>
          <a:ext cx="12191999" cy="6380515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b="1" baseline="0" dirty="0">
                          <a:latin typeface="+mj-lt"/>
                        </a:rPr>
                        <a:t>-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1" kern="1200" baseline="0" dirty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Arial" panose="020B0604020202020204" pitchFamily="34" charset="0"/>
                        </a:rPr>
                        <a:t>Vara delaktig och välinformerad genom hela vårdkedja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dirty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Arial" panose="020B0604020202020204" pitchFamily="34" charset="0"/>
                        </a:rPr>
                        <a:t>Patientsamverkan</a:t>
                      </a:r>
                      <a:r>
                        <a:rPr lang="sv-SE" sz="1200" b="1" kern="1200" baseline="0" dirty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Arial" panose="020B0604020202020204" pitchFamily="34" charset="0"/>
                        </a:rPr>
                        <a:t> i tandvården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krytering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av patientrepresentanter till referensgrupp eller nyttjande av befintliga referensgrupper från vården.</a:t>
                      </a:r>
                    </a:p>
                    <a:p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okusgruppsintervjuer</a:t>
                      </a:r>
                    </a:p>
                    <a:p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tientenkät till SÖSR patienter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d enkät</a:t>
                      </a:r>
                    </a:p>
                    <a:p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okusgruppsintervju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dirty="0">
                          <a:latin typeface="+mj-lt"/>
                        </a:rPr>
                        <a:t>Nyt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1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endParaRPr lang="sv-SE" sz="1200" b="1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dirty="0"/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1100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Ellips 2"/>
          <p:cNvSpPr/>
          <p:nvPr/>
        </p:nvSpPr>
        <p:spPr>
          <a:xfrm>
            <a:off x="11529335" y="1285738"/>
            <a:ext cx="294593" cy="28803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2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70761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9</TotalTime>
  <Words>280</Words>
  <Application>Microsoft Office PowerPoint</Application>
  <PresentationFormat>Bredbild</PresentationFormat>
  <Paragraphs>54</Paragraphs>
  <Slides>3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3</vt:i4>
      </vt:variant>
    </vt:vector>
  </HeadingPairs>
  <TitlesOfParts>
    <vt:vector size="8" baseType="lpstr">
      <vt:lpstr>Arial</vt:lpstr>
      <vt:lpstr>Calibri</vt:lpstr>
      <vt:lpstr>Times New Roman</vt:lpstr>
      <vt:lpstr>1_Office-tema</vt:lpstr>
      <vt:lpstr>think-cell Slide</vt:lpstr>
      <vt:lpstr>RPO tandvård  Handlingsplan för 2024  </vt:lpstr>
      <vt:lpstr>PowerPoint-presentation</vt:lpstr>
      <vt:lpstr>PowerPoint-presentation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Camilla Olsson-Widén</cp:lastModifiedBy>
  <cp:revision>121</cp:revision>
  <dcterms:created xsi:type="dcterms:W3CDTF">2020-10-30T06:43:58Z</dcterms:created>
  <dcterms:modified xsi:type="dcterms:W3CDTF">2024-03-08T09:46:09Z</dcterms:modified>
</cp:coreProperties>
</file>